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18"/>
  </p:notesMasterIdLst>
  <p:handoutMasterIdLst>
    <p:handoutMasterId r:id="rId19"/>
  </p:handoutMasterIdLst>
  <p:sldIdLst>
    <p:sldId id="258" r:id="rId8"/>
    <p:sldId id="339" r:id="rId9"/>
    <p:sldId id="259" r:id="rId10"/>
    <p:sldId id="816" r:id="rId11"/>
    <p:sldId id="814" r:id="rId12"/>
    <p:sldId id="810" r:id="rId13"/>
    <p:sldId id="815" r:id="rId14"/>
    <p:sldId id="809" r:id="rId15"/>
    <p:sldId id="511" r:id="rId16"/>
    <p:sldId id="418" r:id="rId17"/>
  </p:sldIdLst>
  <p:sldSz cx="9215438" cy="5184775"/>
  <p:notesSz cx="6805613" cy="9939338"/>
  <p:custDataLst>
    <p:tags r:id="rId20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4"/>
            <p14:sldId id="810"/>
            <p14:sldId id="815"/>
            <p14:sldId id="809"/>
            <p14:sldId id="511"/>
            <p14:sldId id="418"/>
          </p14:sldIdLst>
        </p14:section>
      </p14:sectionLst>
    </p:ext>
    <p:ext uri="{EFAFB233-063F-42B5-8137-9DF3F51BA10A}">
      <p15:sldGuideLst xmlns=""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>
        <p:scale>
          <a:sx n="86" d="100"/>
          <a:sy n="86" d="100"/>
        </p:scale>
        <p:origin x="-1194" y="180"/>
      </p:cViewPr>
      <p:guideLst>
        <p:guide orient="horz" pos="1996"/>
        <p:guide orient="horz" pos="1814"/>
        <p:guide orient="horz" pos="2540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orient="horz" pos="3062"/>
        <p:guide orient="horz" pos="3084"/>
        <p:guide pos="3628"/>
        <p:guide pos="4331"/>
        <p:guide pos="5420"/>
        <p:guide pos="181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pos="3810"/>
        <p:guide pos="2902"/>
        <p:guide pos="2177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NO nam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</a:t>
            </a:r>
            <a:r>
              <a:rPr lang="de-DE" b="1" dirty="0" smtClean="0"/>
              <a:t>“</a:t>
            </a:r>
            <a:r>
              <a:rPr lang="en-US" b="1" dirty="0" smtClean="0"/>
              <a:t>SAYCHEESE”</a:t>
            </a:r>
            <a:r>
              <a:rPr lang="en-US" b="1" u="sng" dirty="0" smtClean="0"/>
              <a:t> </a:t>
            </a:r>
            <a:endParaRPr lang="en-US" b="1" u="sng" dirty="0"/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¡</a:t>
            </a:r>
            <a:r>
              <a:rPr lang="de-DE" sz="9748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GRACIAS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=""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20" y="288926"/>
            <a:ext cx="7775179" cy="575468"/>
          </a:xfrm>
        </p:spPr>
        <p:txBody>
          <a:bodyPr/>
          <a:lstStyle/>
          <a:p>
            <a:pPr algn="ctr"/>
            <a:r>
              <a:rPr lang="en-GB" sz="2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dineue TEXT Black"/>
              </a:rPr>
              <a:t>MIEMBROS DEL EQUIPO</a:t>
            </a:r>
            <a:endParaRPr lang="en-GB" sz="2800" b="1" dirty="0">
              <a:solidFill>
                <a:schemeClr val="accent1">
                  <a:lumMod val="60000"/>
                  <a:lumOff val="40000"/>
                </a:schemeClr>
              </a:solidFill>
              <a:latin typeface="adineue TEXT Black"/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47" y="611695"/>
            <a:ext cx="7569352" cy="425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=""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 err="1" smtClean="0">
                <a:latin typeface="adineue PRO TT" panose="020B0503020201060004" pitchFamily="34" charset="77"/>
              </a:rPr>
              <a:t>Evolución</a:t>
            </a:r>
            <a:r>
              <a:rPr lang="en-US" sz="2000" b="1" dirty="0" smtClean="0">
                <a:latin typeface="adineue PRO TT" panose="020B0503020201060004" pitchFamily="34" charset="77"/>
              </a:rPr>
              <a:t> del </a:t>
            </a:r>
            <a:r>
              <a:rPr lang="en-US" sz="2000" b="1" dirty="0" err="1" smtClean="0">
                <a:latin typeface="adineue PRO TT" panose="020B0503020201060004" pitchFamily="34" charset="77"/>
              </a:rPr>
              <a:t>deporte</a:t>
            </a:r>
            <a:endParaRPr lang="en-US" sz="2000" b="1" dirty="0">
              <a:latin typeface="adineue PRO TT" panose="020B0503020201060004" pitchFamily="34" charset="77"/>
            </a:endParaRP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ENFOQUE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VALOR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Vectores de mejora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b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EVOLUCIóN</a:t>
            </a:r>
            <a:r>
              <a:rPr lang="en-US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DEL DEPORTE</a:t>
            </a:r>
            <a:endParaRPr lang="en-US" sz="18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34" y="1379477"/>
            <a:ext cx="3269643" cy="2654613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94" y="207111"/>
            <a:ext cx="3614246" cy="2043475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94" y="2472710"/>
            <a:ext cx="3614246" cy="2424728"/>
          </a:xfrm>
          <a:prstGeom prst="rect">
            <a:avLst/>
          </a:prstGeom>
        </p:spPr>
      </p:pic>
      <p:sp>
        <p:nvSpPr>
          <p:cNvPr id="11" name="10 Flecha derecha"/>
          <p:cNvSpPr/>
          <p:nvPr/>
        </p:nvSpPr>
        <p:spPr bwMode="gray">
          <a:xfrm rot="19267003">
            <a:off x="3554181" y="1899946"/>
            <a:ext cx="701532" cy="553336"/>
          </a:xfrm>
          <a:prstGeom prst="rightArrow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rgbClr val="FFC000"/>
              </a:solidFill>
              <a:cs typeface="AdihausDIN Cn" panose="020B0506020101010102" pitchFamily="34" charset="0"/>
            </a:endParaRPr>
          </a:p>
        </p:txBody>
      </p:sp>
      <p:sp>
        <p:nvSpPr>
          <p:cNvPr id="12" name="11 Flecha derecha"/>
          <p:cNvSpPr/>
          <p:nvPr/>
        </p:nvSpPr>
        <p:spPr bwMode="gray">
          <a:xfrm rot="5400000">
            <a:off x="5620895" y="2156542"/>
            <a:ext cx="599045" cy="501438"/>
          </a:xfrm>
          <a:prstGeom prst="rightArrow">
            <a:avLst/>
          </a:prstGeom>
          <a:solidFill>
            <a:schemeClr val="accent5">
              <a:lumMod val="90000"/>
            </a:scheme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rgbClr val="FFC000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7117"/>
            <a:ext cx="9215438" cy="5107657"/>
          </a:xfrm>
          <a:prstGeom prst="rect">
            <a:avLst/>
          </a:prstGeom>
        </p:spPr>
      </p:pic>
      <p:sp>
        <p:nvSpPr>
          <p:cNvPr id="13" name="12 CuadroTexto"/>
          <p:cNvSpPr txBox="1"/>
          <p:nvPr/>
        </p:nvSpPr>
        <p:spPr bwMode="gray">
          <a:xfrm>
            <a:off x="1498294" y="231354"/>
            <a:ext cx="6277281" cy="77118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s-ES" sz="2800" b="1" dirty="0" smtClean="0">
                <a:latin typeface="+mj-lt"/>
              </a:rPr>
              <a:t>ENFOQUE</a:t>
            </a:r>
            <a:endParaRPr lang="es-ES" sz="2800" b="1" dirty="0">
              <a:latin typeface="+mj-lt"/>
            </a:endParaRPr>
          </a:p>
        </p:txBody>
      </p:sp>
      <p:sp>
        <p:nvSpPr>
          <p:cNvPr id="14" name="13 CuadroTexto"/>
          <p:cNvSpPr txBox="1"/>
          <p:nvPr/>
        </p:nvSpPr>
        <p:spPr bwMode="gray">
          <a:xfrm>
            <a:off x="550843" y="3139807"/>
            <a:ext cx="4351663" cy="145422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sz="2800" dirty="0" smtClean="0">
                <a:latin typeface="adineue PRO TT"/>
              </a:rPr>
              <a:t>-Rendimiento.</a:t>
            </a:r>
          </a:p>
          <a:p>
            <a:r>
              <a:rPr lang="es-ES" sz="2800" dirty="0" smtClean="0">
                <a:latin typeface="adineue PRO TT"/>
              </a:rPr>
              <a:t>-Resultados.</a:t>
            </a:r>
          </a:p>
          <a:p>
            <a:r>
              <a:rPr lang="es-ES" sz="2800" dirty="0" smtClean="0">
                <a:latin typeface="adineue PRO TT"/>
              </a:rPr>
              <a:t>-Efectividad.</a:t>
            </a:r>
            <a:endParaRPr lang="es-ES" sz="2800" dirty="0">
              <a:latin typeface="adineue PRO TT"/>
            </a:endParaRPr>
          </a:p>
        </p:txBody>
      </p:sp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Valor</a:t>
            </a:r>
            <a:endParaRPr lang="en-US" sz="3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73" y="764758"/>
            <a:ext cx="5111827" cy="3228542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098" y="1839816"/>
            <a:ext cx="3812933" cy="2864385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 bwMode="gray">
          <a:xfrm>
            <a:off x="374573" y="3993300"/>
            <a:ext cx="4098525" cy="90338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dirty="0" smtClean="0">
                <a:latin typeface="+mn-lt"/>
              </a:rPr>
              <a:t>-Mejora de hábitos visuales.</a:t>
            </a:r>
          </a:p>
          <a:p>
            <a:r>
              <a:rPr lang="es-ES" dirty="0" smtClean="0">
                <a:latin typeface="+mn-lt"/>
              </a:rPr>
              <a:t>-Monitorización de estímulos.</a:t>
            </a:r>
          </a:p>
          <a:p>
            <a:r>
              <a:rPr lang="es-ES" dirty="0" smtClean="0">
                <a:latin typeface="+mn-lt"/>
              </a:rPr>
              <a:t>-Recolección de datos.</a:t>
            </a:r>
            <a:endParaRPr lang="es-E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  <a:endParaRPr lang="en-US" sz="4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0679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 bwMode="gray">
          <a:xfrm>
            <a:off x="1200839" y="220337"/>
            <a:ext cx="7439399" cy="13660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s-ES" sz="2800" b="1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VECTORES DE MEJORA</a:t>
            </a:r>
            <a:endParaRPr lang="es-ES" sz="28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0" name="9 CuadroTexto"/>
          <p:cNvSpPr txBox="1"/>
          <p:nvPr/>
        </p:nvSpPr>
        <p:spPr bwMode="gray">
          <a:xfrm>
            <a:off x="539827" y="3712684"/>
            <a:ext cx="5244028" cy="88685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dirty="0" smtClean="0">
                <a:latin typeface="+mn-lt"/>
              </a:rPr>
              <a:t>-Reconocimiento de emociones.</a:t>
            </a:r>
          </a:p>
          <a:p>
            <a:r>
              <a:rPr lang="es-ES" dirty="0" smtClean="0">
                <a:latin typeface="+mn-lt"/>
              </a:rPr>
              <a:t>-Mejora de la compresión de los datos</a:t>
            </a:r>
            <a:r>
              <a:rPr lang="es-ES" sz="1200" dirty="0" smtClean="0">
                <a:latin typeface="+mn-lt"/>
              </a:rPr>
              <a:t>.</a:t>
            </a: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27" y="1001598"/>
            <a:ext cx="4819708" cy="2711086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4320" y="1001598"/>
            <a:ext cx="3653389" cy="329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=""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819</TotalTime>
  <Words>79</Words>
  <Application>Microsoft Office PowerPoint</Application>
  <PresentationFormat>Personalizado</PresentationFormat>
  <Paragraphs>29</Paragraphs>
  <Slides>10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8" baseType="lpstr"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NO name</vt:lpstr>
      <vt:lpstr>MIEMBROS DEL EQUIPO</vt:lpstr>
      <vt:lpstr>AGENDA</vt:lpstr>
      <vt:lpstr>EVOLUCIóN DEL DEPORTE</vt:lpstr>
      <vt:lpstr>Presentación de PowerPoint</vt:lpstr>
      <vt:lpstr>Valor</vt:lpstr>
      <vt:lpstr>Demo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Gabriel M</cp:lastModifiedBy>
  <cp:revision>153</cp:revision>
  <cp:lastPrinted>2015-05-04T06:43:15Z</cp:lastPrinted>
  <dcterms:created xsi:type="dcterms:W3CDTF">2019-03-09T19:27:14Z</dcterms:created>
  <dcterms:modified xsi:type="dcterms:W3CDTF">2019-03-24T00:33:56Z</dcterms:modified>
  <dc:language>English-UK</dc:language>
</cp:coreProperties>
</file>